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3343" r:id="rId2"/>
    <p:sldId id="2147375041" r:id="rId3"/>
    <p:sldId id="258" r:id="rId4"/>
    <p:sldId id="265" r:id="rId5"/>
    <p:sldId id="2147375038" r:id="rId6"/>
    <p:sldId id="2147375039" r:id="rId7"/>
    <p:sldId id="256" r:id="rId8"/>
    <p:sldId id="2147375032" r:id="rId9"/>
    <p:sldId id="2147375037" r:id="rId10"/>
    <p:sldId id="2147375036" r:id="rId11"/>
    <p:sldId id="2147375026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20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2DA61F6-4BCC-5F42-9CFC-F42AA279B3B8}" v="1" dt="2023-06-17T06:53:12.48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768" autoAdjust="0"/>
    <p:restoredTop sz="96372"/>
  </p:normalViewPr>
  <p:slideViewPr>
    <p:cSldViewPr snapToGrid="0">
      <p:cViewPr varScale="1">
        <p:scale>
          <a:sx n="150" d="100"/>
          <a:sy n="150" d="100"/>
        </p:scale>
        <p:origin x="1016" y="1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6E889C-2C59-1847-8C6B-C876D04F0052}" type="datetimeFigureOut">
              <a:rPr lang="en-US" smtClean="0"/>
              <a:t>9/26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8FCCFA-C4D0-1E44-B583-A03B2189E5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72961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54186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4946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508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91498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2957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E06F22-674D-08F8-F270-C52D412C08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A2517F-7422-E814-2324-79AA321CB2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552E9B-BBBE-CAF8-7D67-D16301F81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0A2F08-70A6-1B4F-979C-B378C44F6C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4242F-BA7D-3E7F-E595-33C575881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50132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480CC8-A41B-7CE4-8EAC-965B8CDA60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8F81291-A205-52C5-89C1-A537863EB0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B5821D-1A3B-D7DE-607B-33969D0D8A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2116F3-4612-C1AC-118B-B34B6D4573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38328-63DB-32F4-877A-806A50D96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84021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3D33AC2-1AE0-6E99-EFCE-490B88CEB07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FEFB8C8-4D39-41A3-1DCF-2CF31B05DF1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1B8448-9940-C518-C1A8-CBCE4DB3A1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CDFD34-ED2C-0F32-9553-039674E5E5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5727F1-1CF6-D312-7D16-58F248CCE0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34707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97541" y="2231571"/>
            <a:ext cx="9780059" cy="1183904"/>
          </a:xfrm>
        </p:spPr>
        <p:txBody>
          <a:bodyPr anchor="b">
            <a:noAutofit/>
          </a:bodyPr>
          <a:lstStyle>
            <a:lvl1pPr>
              <a:defRPr sz="4800" b="1">
                <a:solidFill>
                  <a:srgbClr val="2573BA"/>
                </a:solidFill>
                <a:latin typeface="Arial"/>
                <a:cs typeface="Arial"/>
              </a:defRPr>
            </a:lvl1pPr>
          </a:lstStyle>
          <a:p>
            <a:r>
              <a:rPr lang="en-US" noProof="0"/>
              <a:t>End Slid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pic>
        <p:nvPicPr>
          <p:cNvPr id="4" name="Picture 3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55097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0EB787-6DE8-CD03-C065-72D7C779B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2020F2-EEF7-0CDA-6A08-A7885754EE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4763CA-A36D-4C49-6534-4E1B68E9CE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436D66-9B71-AF9D-5B65-D0A10F2BAB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9EA6AB-97FE-02EA-5C87-3B429E4B90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467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93009A-EBA3-3491-A468-C4E8192663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761B3D-777A-3F72-C658-7A85973BA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B620CF-52DC-3F6B-2AD8-86DC04BE2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0F819A-BA71-18CA-166D-44F8C99FBC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020128-FE2A-F9F9-7687-E15C9751D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66326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2E142F-D485-38B7-5958-FA2D80E2F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83DD84-A30A-0E2B-27D3-DD96B0C126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19481B-9381-5AD2-5AE5-CDE13F70A3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BB2087C-B2BF-593C-4A65-630A99C50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6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0E2C1B-71A5-BDC4-51DB-E0053F84A3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CBD731-AD15-EC58-30BF-AC1D90B9B8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08862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3E1A6C-B589-3FC5-8281-CF21F278DE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7AC41B-0762-1EC9-59D3-1F76D21AD5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B2A8523-23CC-0982-02F0-4FD3086A79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ECB3D4D-B63F-63D8-53AE-6F08F694F79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4B694D-F623-0063-C08E-4DF5A56B751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BA03DAC-459B-16CB-C3B0-97682F69BB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6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D80D9AE-6BD6-A156-2631-6B32E173DD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2BC6189-36A0-3576-C76C-CBF4C5A826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9200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2A6D4A-2CA1-12F3-F187-A127CFCA5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FE1663-C1C4-FF8E-BC80-4E1513B38B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6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73D30-CE64-D248-C921-5C6534DA62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D87861-7B80-2724-9267-B6525C2EC5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23276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946AC74-C028-14DB-4DAB-3949B219A4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6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236ABF-654B-9294-9DCB-FDF391F101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34ECF9-10EF-0E0D-0493-BC5F928D91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3906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6E81BF-38B5-FE68-394E-ED8525C74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C97667-AACC-2DD3-4281-176C6E2610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921FE7-54DE-FFEB-479E-8FF4383E234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5F1946-9A03-096D-50EA-99EE686957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6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A40FF6-CEA6-A433-CDD6-D362B6213F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50077C-A481-0880-329B-7A45BE9B1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11041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430B57-12A6-0EEF-DFA7-40C41CA202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950479B-A24E-95AD-8B89-248321BB4B3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2A3E53-3FD1-5D51-D660-60A32200EF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9F20E89-5E9E-BC17-4253-B763E2567B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6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03562AF-9737-B58B-5D87-AA29CA091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F68DED7-1A90-9736-90B5-1F99529375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9561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561F0E8-E3D0-3CF6-D2A8-5172280BD8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1D5179-D7EE-487E-C50F-20DC102B3A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151ED1-1828-2B24-7E60-16DECC2824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FAC2DA-610F-4D32-B494-6EAFA7CFA318}" type="datetimeFigureOut">
              <a:rPr lang="en-US" smtClean="0"/>
              <a:t>9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3860D1-32BB-FD0E-7E72-0D00570A0C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A00DE6-C4BA-93F0-0976-9ECE4A95B8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715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6" Type="http://schemas.openxmlformats.org/officeDocument/2006/relationships/image" Target="../media/image1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13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6" Type="http://schemas.openxmlformats.org/officeDocument/2006/relationships/image" Target="../media/image13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3E0F57-89E1-4CD1-941E-530065FCE5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83E0F57-89E1-4CD1-941E-530065FCE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36E90A-9756-4DAA-A5C0-5BBB46DDE1B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7B49B9A8-7362-4FFB-9503-B3F42D92B70A}"/>
              </a:ext>
            </a:extLst>
          </p:cNvPr>
          <p:cNvSpPr txBox="1">
            <a:spLocks/>
          </p:cNvSpPr>
          <p:nvPr/>
        </p:nvSpPr>
        <p:spPr>
          <a:xfrm>
            <a:off x="915955" y="4904627"/>
            <a:ext cx="4465469" cy="6978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4267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1pPr>
            <a:lvl2pPr marL="609585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4267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2pPr>
            <a:lvl3pPr marL="1219170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3pPr>
            <a:lvl4pPr marL="1828754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4pPr>
            <a:lvl5pPr marL="2438339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-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Zhen, Dann, Catherine, Joon, Magnus, Jessica</a:t>
            </a:r>
          </a:p>
          <a:p>
            <a:pPr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June 0</a:t>
            </a:r>
            <a:r>
              <a:rPr lang="en-US" altLang="zh-CN" sz="1400" b="1" i="1" dirty="0">
                <a:solidFill>
                  <a:schemeClr val="tx1"/>
                </a:solidFill>
                <a:cs typeface="Arial"/>
              </a:rPr>
              <a:t>1</a:t>
            </a:r>
            <a:r>
              <a:rPr lang="en-US" sz="1400" b="1" i="1" dirty="0">
                <a:solidFill>
                  <a:schemeClr val="tx1"/>
                </a:solidFill>
                <a:cs typeface="Arial"/>
              </a:rPr>
              <a:t>, 2023</a:t>
            </a:r>
          </a:p>
          <a:p>
            <a:pPr algn="l">
              <a:spcBef>
                <a:spcPts val="200"/>
              </a:spcBef>
            </a:pPr>
            <a:endParaRPr lang="en-US" sz="1400" b="1" i="1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F1C6CDA-96EF-4992-9AF2-6F15731BF403}"/>
              </a:ext>
            </a:extLst>
          </p:cNvPr>
          <p:cNvSpPr txBox="1"/>
          <p:nvPr/>
        </p:nvSpPr>
        <p:spPr>
          <a:xfrm>
            <a:off x="737825" y="2648080"/>
            <a:ext cx="1060311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err="1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RNAseq</a:t>
            </a:r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 for HTT Splicing Enhancers</a:t>
            </a:r>
          </a:p>
          <a:p>
            <a:pPr algn="ctr"/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DEG vs DSG  --- TST12086</a:t>
            </a:r>
          </a:p>
        </p:txBody>
      </p:sp>
    </p:spTree>
    <p:extLst>
      <p:ext uri="{BB962C8B-B14F-4D97-AF65-F5344CB8AC3E}">
        <p14:creationId xmlns:p14="http://schemas.microsoft.com/office/powerpoint/2010/main" val="24230956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DF8B4E8-D175-FB84-6B07-C06264004D3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verlap of PTC518/</a:t>
            </a:r>
            <a:r>
              <a:rPr lang="en-US" dirty="0" err="1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Branaplam</a:t>
            </a: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 in NGN2 cells and Risdiplam </a:t>
            </a: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in iPSC-MNs  </a:t>
            </a:r>
          </a:p>
        </p:txBody>
      </p:sp>
      <p:pic>
        <p:nvPicPr>
          <p:cNvPr id="5" name="Picture 4" descr="A picture containing circle, diagram, sketch, drawing&#10;&#10;Description automatically generated">
            <a:extLst>
              <a:ext uri="{FF2B5EF4-FFF2-40B4-BE49-F238E27FC236}">
                <a16:creationId xmlns:a16="http://schemas.microsoft.com/office/drawing/2014/main" id="{4C5C2A72-9952-FDC7-CA89-D949DCD0271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0336" y="914400"/>
            <a:ext cx="5158946" cy="5158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6182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AF49ED-EAF7-F2EB-EB55-8B4B2761484D}"/>
              </a:ext>
            </a:extLst>
          </p:cNvPr>
          <p:cNvSpPr txBox="1"/>
          <p:nvPr/>
        </p:nvSpPr>
        <p:spPr>
          <a:xfrm>
            <a:off x="1233262" y="1338056"/>
            <a:ext cx="9636410" cy="40010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solidFill>
                  <a:srgbClr val="120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mary: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1) Both DEG and DSG were getting better from batch 1 , 2, an 3 in all the cell types tested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2) The DEG/DSG are quite different across 3 cell types. Sy5Y and iPSC were more similar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3)  The DEG/DSG are only overlapped with very low frequency. 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solidFill>
                <a:srgbClr val="1206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solidFill>
                <a:srgbClr val="1206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solidFill>
                <a:srgbClr val="1206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sz="1800" dirty="0">
              <a:solidFill>
                <a:srgbClr val="1206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sz="18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8273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DF8B4E8-D175-FB84-6B07-C06264004D3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Design, Description and Aims: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B2E005-BA5F-E4A7-D47D-B7E5F4F47E52}"/>
              </a:ext>
            </a:extLst>
          </p:cNvPr>
          <p:cNvSpPr txBox="1"/>
          <p:nvPr/>
        </p:nvSpPr>
        <p:spPr>
          <a:xfrm>
            <a:off x="852522" y="1020745"/>
            <a:ext cx="10457161" cy="53553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Design:</a:t>
            </a:r>
          </a:p>
          <a:p>
            <a:r>
              <a:rPr lang="en-US" dirty="0"/>
              <a:t>7 SM compounds + DMSO vehicle (4 internal compounds, 3 competitor benchmark compounds, DMSO)</a:t>
            </a:r>
            <a:br>
              <a:rPr lang="en-US" dirty="0"/>
            </a:br>
            <a:endParaRPr lang="en-US" dirty="0"/>
          </a:p>
          <a:p>
            <a:r>
              <a:rPr lang="en-US" dirty="0"/>
              <a:t>-2 doses per compound (3x and 10x IC50)</a:t>
            </a:r>
            <a:br>
              <a:rPr lang="en-US" dirty="0"/>
            </a:br>
            <a:r>
              <a:rPr lang="en-US" dirty="0"/>
              <a:t>-4 biological replicates, and 3 were used in data analysis</a:t>
            </a:r>
            <a:br>
              <a:rPr lang="en-US" dirty="0"/>
            </a:br>
            <a:r>
              <a:rPr lang="en-US" dirty="0"/>
              <a:t>-3 cell lines (NGN2, iPSC, SH-SY5Y)</a:t>
            </a:r>
          </a:p>
          <a:p>
            <a:endParaRPr lang="en-US" dirty="0"/>
          </a:p>
          <a:p>
            <a:r>
              <a:rPr lang="en-US" dirty="0"/>
              <a:t>Description:</a:t>
            </a:r>
            <a:br>
              <a:rPr lang="en-US" dirty="0"/>
            </a:br>
            <a:r>
              <a:rPr lang="en-US" dirty="0"/>
              <a:t>-Total number of samples: 180</a:t>
            </a:r>
            <a:br>
              <a:rPr lang="en-US" dirty="0"/>
            </a:br>
            <a:r>
              <a:rPr lang="en-US" dirty="0"/>
              <a:t>-Bulk, </a:t>
            </a:r>
            <a:r>
              <a:rPr lang="en-US" dirty="0" err="1"/>
              <a:t>polyA</a:t>
            </a:r>
            <a:r>
              <a:rPr lang="en-US" dirty="0"/>
              <a:t>-selected, stranded, paired-end RNA-seq</a:t>
            </a:r>
            <a:br>
              <a:rPr lang="en-US" dirty="0"/>
            </a:br>
            <a:r>
              <a:rPr lang="en-US" dirty="0"/>
              <a:t>-75x75 or longer paired end sequencing</a:t>
            </a:r>
            <a:br>
              <a:rPr lang="en-US" dirty="0"/>
            </a:br>
            <a:endParaRPr lang="en-US" dirty="0"/>
          </a:p>
          <a:p>
            <a:r>
              <a:rPr lang="en-US" dirty="0"/>
              <a:t>Aims:</a:t>
            </a:r>
            <a:br>
              <a:rPr lang="en-US" dirty="0"/>
            </a:br>
            <a:r>
              <a:rPr lang="en-US" dirty="0"/>
              <a:t>-Explore DSG/DEG difference and relationship</a:t>
            </a:r>
          </a:p>
          <a:p>
            <a:r>
              <a:rPr lang="en-US" dirty="0"/>
              <a:t>-Comparison between compounds within each cell type to identify common and unique genes/events that are differentially spliced</a:t>
            </a:r>
          </a:p>
          <a:p>
            <a:r>
              <a:rPr lang="en-US" dirty="0"/>
              <a:t>-Comparison of OT DSGs between cell lines for each compound</a:t>
            </a:r>
            <a:br>
              <a:rPr lang="en-US" dirty="0"/>
            </a:br>
            <a:r>
              <a:rPr lang="en-US" dirty="0"/>
              <a:t>-Motif analysis for each compound differentially spliced event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77225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C18A901-0072-B33A-7897-C127D1B9CB05}"/>
              </a:ext>
            </a:extLst>
          </p:cNvPr>
          <p:cNvSpPr txBox="1"/>
          <p:nvPr/>
        </p:nvSpPr>
        <p:spPr>
          <a:xfrm>
            <a:off x="758757" y="544749"/>
            <a:ext cx="482176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 bar graphs comparing the 3 batches of RNA-seq</a:t>
            </a:r>
          </a:p>
          <a:p>
            <a:r>
              <a:rPr lang="en-US" dirty="0"/>
              <a:t>Number of DSG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F9BF8BC-4BB5-B349-062A-404B0DDABB53}"/>
              </a:ext>
            </a:extLst>
          </p:cNvPr>
          <p:cNvSpPr txBox="1"/>
          <p:nvPr/>
        </p:nvSpPr>
        <p:spPr>
          <a:xfrm>
            <a:off x="9348281" y="447472"/>
            <a:ext cx="6785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ate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14B7961-1311-3B5E-68D5-6740339D9F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166" y="1344705"/>
            <a:ext cx="5040132" cy="5055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ED9DCC4-6041-F828-5764-3CAC0917F1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1540" y="1191080"/>
            <a:ext cx="5326595" cy="5326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6154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7FBBB86-4459-617A-22EB-CB675681DB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1982" y="831779"/>
            <a:ext cx="4844979" cy="485890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BF570E5-D053-6DDC-8F81-36A6A31BB9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5612" y="878384"/>
            <a:ext cx="4765691" cy="4765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1398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831A777-00A6-FC1D-5037-15224214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449" y="977949"/>
            <a:ext cx="5214551" cy="521455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270205D-61EB-906A-023D-E278D2B008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866" y="929823"/>
            <a:ext cx="5556422" cy="555642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DDB7B798-2D90-F407-64DD-25FB289DE50E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DEG across batch 1&amp;2&amp;3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57889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DC1FEE0-DF22-62DD-5F61-1FE4D855B0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663" y="880304"/>
            <a:ext cx="5977696" cy="597769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602D255-87FB-FF48-5A25-F750800756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3070" y="876183"/>
            <a:ext cx="5977696" cy="5977696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09A1CDC-F56C-370C-4696-D970055822B8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DEG across batch 1&amp;2&amp;3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95538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82039752-91D1-5C56-9749-A833A8FF4C36}"/>
              </a:ext>
            </a:extLst>
          </p:cNvPr>
          <p:cNvSpPr txBox="1"/>
          <p:nvPr/>
        </p:nvSpPr>
        <p:spPr>
          <a:xfrm>
            <a:off x="307746" y="391886"/>
            <a:ext cx="4951773" cy="646331"/>
          </a:xfrm>
          <a:prstGeom prst="rect">
            <a:avLst/>
          </a:prstGeom>
          <a:solidFill>
            <a:schemeClr val="accent4"/>
          </a:solidFill>
        </p:spPr>
        <p:txBody>
          <a:bodyPr wrap="square" rtlCol="0">
            <a:spAutoFit/>
          </a:bodyPr>
          <a:lstStyle/>
          <a:p>
            <a:endParaRPr lang="en-US" dirty="0"/>
          </a:p>
          <a:p>
            <a:r>
              <a:rPr lang="en-US" dirty="0"/>
              <a:t>HTT sashimi-plot across 3 cell types</a:t>
            </a:r>
          </a:p>
        </p:txBody>
      </p:sp>
      <p:pic>
        <p:nvPicPr>
          <p:cNvPr id="30" name="Picture 29" descr="A picture containing text, screenshot, colorfulness, diagram&#10;&#10;Description automatically generated">
            <a:extLst>
              <a:ext uri="{FF2B5EF4-FFF2-40B4-BE49-F238E27FC236}">
                <a16:creationId xmlns:a16="http://schemas.microsoft.com/office/drawing/2014/main" id="{A2C8F4A4-BFAC-6DCD-9D94-FE79B90FB0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3332" y="0"/>
            <a:ext cx="422300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66377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A picture containing circle, diagram, sketch, drawing&#10;&#10;Description automatically generated">
            <a:extLst>
              <a:ext uri="{FF2B5EF4-FFF2-40B4-BE49-F238E27FC236}">
                <a16:creationId xmlns:a16="http://schemas.microsoft.com/office/drawing/2014/main" id="{E6D27CD7-413A-8993-D4D0-6718F89812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2800" y="1367480"/>
            <a:ext cx="4804719" cy="4804719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DF8B4E8-D175-FB84-6B07-C06264004D3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verlap of Risdiplam induced </a:t>
            </a: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T in iPSC-MNs </a:t>
            </a:r>
          </a:p>
        </p:txBody>
      </p:sp>
    </p:spTree>
    <p:extLst>
      <p:ext uri="{BB962C8B-B14F-4D97-AF65-F5344CB8AC3E}">
        <p14:creationId xmlns:p14="http://schemas.microsoft.com/office/powerpoint/2010/main" val="22605191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A picture containing circle, diagram, sketch, drawing&#10;&#10;Description automatically generated">
            <a:extLst>
              <a:ext uri="{FF2B5EF4-FFF2-40B4-BE49-F238E27FC236}">
                <a16:creationId xmlns:a16="http://schemas.microsoft.com/office/drawing/2014/main" id="{E6D27CD7-413A-8993-D4D0-6718F89812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8097" y="1408669"/>
            <a:ext cx="4804719" cy="4804719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DF8B4E8-D175-FB84-6B07-C06264004D3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verlap of Risdiplam induced </a:t>
            </a: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T in iPSC-MNs </a:t>
            </a:r>
          </a:p>
        </p:txBody>
      </p:sp>
      <p:pic>
        <p:nvPicPr>
          <p:cNvPr id="5" name="Picture 4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3C4F4AA4-065B-86E9-FC5D-5ED9E1D0355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5497" y="783884"/>
            <a:ext cx="3489323" cy="5762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8486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Yoo3JWFNOgPMWDCrsw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620</TotalTime>
  <Words>286</Words>
  <Application>Microsoft Macintosh PowerPoint</Application>
  <PresentationFormat>Widescreen</PresentationFormat>
  <Paragraphs>39</Paragraphs>
  <Slides>11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Arial Narrow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Biog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on Lee</dc:creator>
  <cp:lastModifiedBy>Zhen Gao</cp:lastModifiedBy>
  <cp:revision>4</cp:revision>
  <dcterms:created xsi:type="dcterms:W3CDTF">2023-04-24T14:22:28Z</dcterms:created>
  <dcterms:modified xsi:type="dcterms:W3CDTF">2023-09-27T04:00:16Z</dcterms:modified>
</cp:coreProperties>
</file>